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05" r:id="rId2"/>
    <p:sldId id="281" r:id="rId3"/>
    <p:sldId id="308" r:id="rId4"/>
    <p:sldId id="313" r:id="rId5"/>
    <p:sldId id="309" r:id="rId6"/>
    <p:sldId id="311" r:id="rId7"/>
  </p:sldIdLst>
  <p:sldSz cx="12192000" cy="6858000"/>
  <p:notesSz cx="7104063" cy="10234613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3A7C41-47CF-4BFD-8C66-533AAAACACA8}" v="872" dt="2023-03-08T19:10:32.983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6622" autoAdjust="0"/>
  </p:normalViewPr>
  <p:slideViewPr>
    <p:cSldViewPr snapToGrid="0" showGuides="1">
      <p:cViewPr varScale="1">
        <p:scale>
          <a:sx n="100" d="100"/>
          <a:sy n="100" d="100"/>
        </p:scale>
        <p:origin x="21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1E3A7C41-47CF-4BFD-8C66-533AAAACACA8}"/>
    <pc:docChg chg="undo custSel addSld delSld modSld sldOrd modMainMaster modSection replTag modNotesMaster modHandout">
      <pc:chgData name="Tobias Brammer" userId="80a1e1bd-3b82-47a5-b259-da62a397db92" providerId="ADAL" clId="{1E3A7C41-47CF-4BFD-8C66-533AAAACACA8}" dt="2023-03-08T19:10:51.803" v="10575" actId="1076"/>
      <pc:docMkLst>
        <pc:docMk/>
      </pc:docMkLst>
      <pc:sldChg chg="delSp modSp del mod ord modNotes">
        <pc:chgData name="Tobias Brammer" userId="80a1e1bd-3b82-47a5-b259-da62a397db92" providerId="ADAL" clId="{1E3A7C41-47CF-4BFD-8C66-533AAAACACA8}" dt="2023-03-07T06:51:25.444" v="8891" actId="47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3-07T06:54:13.648" v="8928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3-07T06:54:13.645" v="8924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3-07T06:54:13.648" v="8928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del mod modTransition modShow modNotes">
        <pc:chgData name="Tobias Brammer" userId="80a1e1bd-3b82-47a5-b259-da62a397db92" providerId="ADAL" clId="{1E3A7C41-47CF-4BFD-8C66-533AAAACACA8}" dt="2023-03-07T06:51:26.278" v="8892" actId="47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8T18:48:53.556" v="9431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8T18:48:53.556" v="9431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0:49.497" v="10374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3-08T19:00:49.497" v="10374" actId="20577"/>
          <ac:spMkLst>
            <pc:docMk/>
            <pc:sldMk cId="2492524537" sldId="309"/>
            <ac:spMk id="3" creationId="{DBBA62F8-ABAB-0796-5D4F-277CA4383CB2}"/>
          </ac:spMkLst>
        </pc:spChg>
        <pc:spChg chg="add mod">
          <ac:chgData name="Tobias Brammer" userId="80a1e1bd-3b82-47a5-b259-da62a397db92" providerId="ADAL" clId="{1E3A7C41-47CF-4BFD-8C66-533AAAACACA8}" dt="2023-03-08T18:59:25.619" v="10267" actId="20577"/>
          <ac:spMkLst>
            <pc:docMk/>
            <pc:sldMk cId="2492524537" sldId="309"/>
            <ac:spMk id="5" creationId="{0256447C-D35F-4F86-D90B-E90F6B46AE7F}"/>
          </ac:spMkLst>
        </pc:spChg>
        <pc:spChg chg="mod">
          <ac:chgData name="Tobias Brammer" userId="80a1e1bd-3b82-47a5-b259-da62a397db92" providerId="ADAL" clId="{1E3A7C41-47CF-4BFD-8C66-533AAAACACA8}" dt="2023-03-08T18:59:57.270" v="10335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06:38.848" v="10486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8T19:06:38.848" v="10486" actId="20577"/>
          <ac:spMkLst>
            <pc:docMk/>
            <pc:sldMk cId="3090062221" sldId="311"/>
            <ac:spMk id="6" creationId="{8FC4456C-8838-4F8B-8B1E-95CBD5B2E38B}"/>
          </ac:spMkLst>
        </pc:spChg>
        <pc:spChg chg="add del mod">
          <ac:chgData name="Tobias Brammer" userId="80a1e1bd-3b82-47a5-b259-da62a397db92" providerId="ADAL" clId="{1E3A7C41-47CF-4BFD-8C66-533AAAACACA8}" dt="2023-03-07T06:34:15.626" v="8647" actId="478"/>
          <ac:spMkLst>
            <pc:docMk/>
            <pc:sldMk cId="3090062221" sldId="311"/>
            <ac:spMk id="7" creationId="{8278DBF7-FB37-80E4-88AD-07CAB4ADF21F}"/>
          </ac:spMkLst>
        </pc:spChg>
        <pc:grpChg chg="add del mod">
          <ac:chgData name="Tobias Brammer" userId="80a1e1bd-3b82-47a5-b259-da62a397db92" providerId="ADAL" clId="{1E3A7C41-47CF-4BFD-8C66-533AAAACACA8}" dt="2023-03-07T06:47:28.887" v="8863" actId="478"/>
          <ac:grpSpMkLst>
            <pc:docMk/>
            <pc:sldMk cId="3090062221" sldId="311"/>
            <ac:grpSpMk id="15" creationId="{84155CE7-CE7B-6794-3BDF-B45F6F41191A}"/>
          </ac:grpSpMkLst>
        </pc:grpChg>
        <pc:grpChg chg="add mod">
          <ac:chgData name="Tobias Brammer" userId="80a1e1bd-3b82-47a5-b259-da62a397db92" providerId="ADAL" clId="{1E3A7C41-47CF-4BFD-8C66-533AAAACACA8}" dt="2023-03-07T06:50:12.639" v="8889" actId="1076"/>
          <ac:grpSpMkLst>
            <pc:docMk/>
            <pc:sldMk cId="3090062221" sldId="311"/>
            <ac:grpSpMk id="23" creationId="{38285DF7-26A5-0B52-5D8A-45F17BF22272}"/>
          </ac:grpSpMkLst>
        </pc:grpChg>
        <pc:graphicFrameChg chg="add del mod">
          <ac:chgData name="Tobias Brammer" userId="80a1e1bd-3b82-47a5-b259-da62a397db92" providerId="ADAL" clId="{1E3A7C41-47CF-4BFD-8C66-533AAAACACA8}" dt="2023-03-07T06:34:10.475" v="8645" actId="478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1:31.357" v="8815" actId="478"/>
          <ac:graphicFrameMkLst>
            <pc:docMk/>
            <pc:sldMk cId="3090062221" sldId="311"/>
            <ac:graphicFrameMk id="5" creationId="{69CA4EEA-7C4D-39AC-AF26-DAD4D2D25EAA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06.125" v="8820" actId="478"/>
          <ac:graphicFrameMkLst>
            <pc:docMk/>
            <pc:sldMk cId="3090062221" sldId="311"/>
            <ac:graphicFrameMk id="8" creationId="{76CF5CBA-D2DD-34D9-FC91-845883B827DD}"/>
          </ac:graphicFrameMkLst>
        </pc:graphicFrameChg>
        <pc:graphicFrameChg chg="add mod topLvl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9" creationId="{D1559444-CA7D-43C0-1DE4-369F3173A80D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3:43.116" v="8827" actId="478"/>
          <ac:graphicFrameMkLst>
            <pc:docMk/>
            <pc:sldMk cId="3090062221" sldId="311"/>
            <ac:graphicFrameMk id="10" creationId="{E4D27B5D-AD38-F131-8B5F-04A4DCA54B0E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4.574" v="8872" actId="478"/>
          <ac:graphicFrameMkLst>
            <pc:docMk/>
            <pc:sldMk cId="3090062221" sldId="311"/>
            <ac:graphicFrameMk id="11" creationId="{A1A9EEA3-CF70-0746-9268-52E5213F26CB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5:19.491" v="8843" actId="478"/>
          <ac:graphicFrameMkLst>
            <pc:docMk/>
            <pc:sldMk cId="3090062221" sldId="311"/>
            <ac:graphicFrameMk id="12" creationId="{02AA1BF8-7A1D-F5CE-9BBE-12AEED4DC507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27.571" v="8862" actId="478"/>
          <ac:graphicFrameMkLst>
            <pc:docMk/>
            <pc:sldMk cId="3090062221" sldId="311"/>
            <ac:graphicFrameMk id="13" creationId="{1CE26004-2BFF-7BE5-24C8-818375EE2B85}"/>
          </ac:graphicFrameMkLst>
        </pc:graphicFrameChg>
        <pc:graphicFrameChg chg="add del mod topLvl">
          <ac:chgData name="Tobias Brammer" userId="80a1e1bd-3b82-47a5-b259-da62a397db92" providerId="ADAL" clId="{1E3A7C41-47CF-4BFD-8C66-533AAAACACA8}" dt="2023-03-07T06:47:28.887" v="8863" actId="478"/>
          <ac:graphicFrameMkLst>
            <pc:docMk/>
            <pc:sldMk cId="3090062221" sldId="311"/>
            <ac:graphicFrameMk id="14" creationId="{B6AFF7B3-635D-977B-A15E-3CBEBB440DE1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7:39.724" v="8866" actId="478"/>
          <ac:graphicFrameMkLst>
            <pc:docMk/>
            <pc:sldMk cId="3090062221" sldId="311"/>
            <ac:graphicFrameMk id="16" creationId="{5A593BE0-B2EE-DAB8-481F-DCDE6EE6BDDC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12.431" v="8871" actId="478"/>
          <ac:graphicFrameMkLst>
            <pc:docMk/>
            <pc:sldMk cId="3090062221" sldId="311"/>
            <ac:graphicFrameMk id="17" creationId="{1DDDD90B-6559-B079-6BE8-C4E960EDAE96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9:46.341" v="8883" actId="478"/>
          <ac:graphicFrameMkLst>
            <pc:docMk/>
            <pc:sldMk cId="3090062221" sldId="311"/>
            <ac:graphicFrameMk id="18" creationId="{33D05F86-5BAA-0142-89B9-9E2CEAE67970}"/>
          </ac:graphicFrameMkLst>
        </pc:graphicFrameChg>
        <pc:graphicFrameChg chg="add del mod">
          <ac:chgData name="Tobias Brammer" userId="80a1e1bd-3b82-47a5-b259-da62a397db92" providerId="ADAL" clId="{1E3A7C41-47CF-4BFD-8C66-533AAAACACA8}" dt="2023-03-07T06:48:32.196" v="8877" actId="478"/>
          <ac:graphicFrameMkLst>
            <pc:docMk/>
            <pc:sldMk cId="3090062221" sldId="311"/>
            <ac:graphicFrameMk id="19" creationId="{DF13B7E3-4BFB-9AD3-67C8-C2755690E97C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1" creationId="{B305C757-02F7-D8E4-C352-87D04B022676}"/>
          </ac:graphicFrameMkLst>
        </pc:graphicFrameChg>
        <pc:graphicFrameChg chg="add mod">
          <ac:chgData name="Tobias Brammer" userId="80a1e1bd-3b82-47a5-b259-da62a397db92" providerId="ADAL" clId="{1E3A7C41-47CF-4BFD-8C66-533AAAACACA8}" dt="2023-03-07T06:50:07.426" v="8888" actId="164"/>
          <ac:graphicFrameMkLst>
            <pc:docMk/>
            <pc:sldMk cId="3090062221" sldId="311"/>
            <ac:graphicFrameMk id="22" creationId="{047ADE68-9866-819C-37AA-A74696903866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 ord">
        <pc:chgData name="Tobias Brammer" userId="80a1e1bd-3b82-47a5-b259-da62a397db92" providerId="ADAL" clId="{1E3A7C41-47CF-4BFD-8C66-533AAAACACA8}" dt="2023-03-08T19:10:51.803" v="10575" actId="1076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3-08T19:10:15.739" v="10493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3-08T19:10:15.790" v="10534"/>
          <ac:spMkLst>
            <pc:docMk/>
            <pc:sldMk cId="637503088" sldId="313"/>
            <ac:spMk id="3" creationId="{0F5689F9-FD71-5AD3-42C8-191A123C5D04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8" creationId="{A26BD07B-B36A-46BD-8B09-8347D40D54E4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9" creationId="{7A55C507-1CA4-403F-85AA-068A599400B3}"/>
          </ac:spMkLst>
        </pc:spChg>
        <pc:spChg chg="mod or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3-08T19:10:51.803" v="10575" actId="1076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3-08T19:10:15.806" v="10536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Chg chg="addSp delSp modSp new add del mod replTag modNotes">
        <pc:chgData name="Tobias Brammer" userId="80a1e1bd-3b82-47a5-b259-da62a397db92" providerId="ADAL" clId="{1E3A7C41-47CF-4BFD-8C66-533AAAACACA8}" dt="2023-03-07T06:19:48.494" v="8634" actId="47"/>
        <pc:sldMkLst>
          <pc:docMk/>
          <pc:sldMk cId="2442288617" sldId="314"/>
        </pc:sldMkLst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2" creationId="{D309766A-97F8-D59F-9A4A-A34A6A22E12B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3" creationId="{53590706-900D-C74D-75E6-E7958675BDB1}"/>
          </ac:spMkLst>
        </pc:spChg>
        <pc:spChg chg="del mod">
          <ac:chgData name="Tobias Brammer" userId="80a1e1bd-3b82-47a5-b259-da62a397db92" providerId="ADAL" clId="{1E3A7C41-47CF-4BFD-8C66-533AAAACACA8}" dt="2023-03-07T06:19:26.427" v="7886"/>
          <ac:spMkLst>
            <pc:docMk/>
            <pc:sldMk cId="2442288617" sldId="314"/>
            <ac:spMk id="4" creationId="{B85D4468-326B-B61A-BD09-97319A802902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7"/>
          <ac:spMkLst>
            <pc:docMk/>
            <pc:sldMk cId="2442288617" sldId="314"/>
            <ac:spMk id="5" creationId="{C5BBB58E-569B-B687-4FFC-8858D431FDF6}"/>
          </ac:spMkLst>
        </pc:spChg>
        <pc:spChg chg="add del mod ord replST">
          <ac:chgData name="Tobias Brammer" userId="80a1e1bd-3b82-47a5-b259-da62a397db92" providerId="ADAL" clId="{1E3A7C41-47CF-4BFD-8C66-533AAAACACA8}" dt="2023-03-07T06:19:34.994" v="8039"/>
          <ac:spMkLst>
            <pc:docMk/>
            <pc:sldMk cId="2442288617" sldId="314"/>
            <ac:spMk id="6" creationId="{322CEEFA-3CBB-484B-5950-40E401853D50}"/>
          </ac:spMkLst>
        </pc:spChg>
        <pc:spChg chg="add del mod replST">
          <ac:chgData name="Tobias Brammer" userId="80a1e1bd-3b82-47a5-b259-da62a397db92" providerId="ADAL" clId="{1E3A7C41-47CF-4BFD-8C66-533AAAACACA8}" dt="2023-03-07T06:19:34.993" v="8035"/>
          <ac:spMkLst>
            <pc:docMk/>
            <pc:sldMk cId="2442288617" sldId="314"/>
            <ac:spMk id="7" creationId="{0E2B4C85-EA1B-CAD1-99AE-77D0DDD4202A}"/>
          </ac:spMkLst>
        </pc:spChg>
        <pc:spChg chg="add del mod replST">
          <ac:chgData name="Tobias Brammer" userId="80a1e1bd-3b82-47a5-b259-da62a397db92" providerId="ADAL" clId="{1E3A7C41-47CF-4BFD-8C66-533AAAACACA8}" dt="2023-03-07T06:19:34.992" v="8034"/>
          <ac:spMkLst>
            <pc:docMk/>
            <pc:sldMk cId="2442288617" sldId="314"/>
            <ac:spMk id="8" creationId="{33AAD9C2-691E-CDBB-DE65-B539431F9044}"/>
          </ac:spMkLst>
        </pc:spChg>
        <pc:spChg chg="add del mod replST">
          <ac:chgData name="Tobias Brammer" userId="80a1e1bd-3b82-47a5-b259-da62a397db92" providerId="ADAL" clId="{1E3A7C41-47CF-4BFD-8C66-533AAAACACA8}" dt="2023-03-07T06:19:34.990" v="8032"/>
          <ac:spMkLst>
            <pc:docMk/>
            <pc:sldMk cId="2442288617" sldId="314"/>
            <ac:spMk id="9" creationId="{E1DC0737-D98C-FF28-DA55-451DEB6FEBC9}"/>
          </ac:spMkLst>
        </pc:spChg>
        <pc:spChg chg="add del mod replST">
          <ac:chgData name="Tobias Brammer" userId="80a1e1bd-3b82-47a5-b259-da62a397db92" providerId="ADAL" clId="{1E3A7C41-47CF-4BFD-8C66-533AAAACACA8}" dt="2023-03-07T06:19:35.209" v="8186"/>
          <ac:spMkLst>
            <pc:docMk/>
            <pc:sldMk cId="2442288617" sldId="314"/>
            <ac:spMk id="10" creationId="{AC7C5A1F-CF6B-F0BA-31AF-1B15193C2327}"/>
          </ac:spMkLst>
        </pc:spChg>
        <pc:spChg chg="add del mod ord replST">
          <ac:chgData name="Tobias Brammer" userId="80a1e1bd-3b82-47a5-b259-da62a397db92" providerId="ADAL" clId="{1E3A7C41-47CF-4BFD-8C66-533AAAACACA8}" dt="2023-03-07T06:19:35.210" v="8188"/>
          <ac:spMkLst>
            <pc:docMk/>
            <pc:sldMk cId="2442288617" sldId="314"/>
            <ac:spMk id="11" creationId="{FFF1A8CF-C3F3-0D95-601E-643F29B4D6D5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4"/>
          <ac:spMkLst>
            <pc:docMk/>
            <pc:sldMk cId="2442288617" sldId="314"/>
            <ac:spMk id="12" creationId="{29C480A2-0897-968D-3C47-C37E1D151123}"/>
          </ac:spMkLst>
        </pc:spChg>
        <pc:spChg chg="add del mod replST">
          <ac:chgData name="Tobias Brammer" userId="80a1e1bd-3b82-47a5-b259-da62a397db92" providerId="ADAL" clId="{1E3A7C41-47CF-4BFD-8C66-533AAAACACA8}" dt="2023-03-07T06:19:35.208" v="8183"/>
          <ac:spMkLst>
            <pc:docMk/>
            <pc:sldMk cId="2442288617" sldId="314"/>
            <ac:spMk id="13" creationId="{87411137-08ED-EF25-6EAD-7582CE377194}"/>
          </ac:spMkLst>
        </pc:spChg>
        <pc:spChg chg="add del mod replST">
          <ac:chgData name="Tobias Brammer" userId="80a1e1bd-3b82-47a5-b259-da62a397db92" providerId="ADAL" clId="{1E3A7C41-47CF-4BFD-8C66-533AAAACACA8}" dt="2023-03-07T06:19:35.207" v="8181"/>
          <ac:spMkLst>
            <pc:docMk/>
            <pc:sldMk cId="2442288617" sldId="314"/>
            <ac:spMk id="14" creationId="{528F609B-DAC0-6B13-E030-521ABC1492C3}"/>
          </ac:spMkLst>
        </pc:spChg>
        <pc:spChg chg="add del mod replST">
          <ac:chgData name="Tobias Brammer" userId="80a1e1bd-3b82-47a5-b259-da62a397db92" providerId="ADAL" clId="{1E3A7C41-47CF-4BFD-8C66-533AAAACACA8}" dt="2023-03-07T06:19:35.443" v="8335"/>
          <ac:spMkLst>
            <pc:docMk/>
            <pc:sldMk cId="2442288617" sldId="314"/>
            <ac:spMk id="15" creationId="{B5187429-2401-8A8A-F31C-5CE416ED6DD0}"/>
          </ac:spMkLst>
        </pc:spChg>
        <pc:spChg chg="add del mod ord replST">
          <ac:chgData name="Tobias Brammer" userId="80a1e1bd-3b82-47a5-b259-da62a397db92" providerId="ADAL" clId="{1E3A7C41-47CF-4BFD-8C66-533AAAACACA8}" dt="2023-03-07T06:19:35.443" v="8337"/>
          <ac:spMkLst>
            <pc:docMk/>
            <pc:sldMk cId="2442288617" sldId="314"/>
            <ac:spMk id="16" creationId="{5A4306E2-BD3D-BCF5-2103-B3ACDFCD6C70}"/>
          </ac:spMkLst>
        </pc:spChg>
        <pc:spChg chg="add del mod replST">
          <ac:chgData name="Tobias Brammer" userId="80a1e1bd-3b82-47a5-b259-da62a397db92" providerId="ADAL" clId="{1E3A7C41-47CF-4BFD-8C66-533AAAACACA8}" dt="2023-03-07T06:19:35.442" v="8333"/>
          <ac:spMkLst>
            <pc:docMk/>
            <pc:sldMk cId="2442288617" sldId="314"/>
            <ac:spMk id="17" creationId="{7C3FCB28-CA2F-15AC-BF34-63036E9F36AE}"/>
          </ac:spMkLst>
        </pc:spChg>
        <pc:spChg chg="add del mod replST">
          <ac:chgData name="Tobias Brammer" userId="80a1e1bd-3b82-47a5-b259-da62a397db92" providerId="ADAL" clId="{1E3A7C41-47CF-4BFD-8C66-533AAAACACA8}" dt="2023-03-07T06:19:35.441" v="8332"/>
          <ac:spMkLst>
            <pc:docMk/>
            <pc:sldMk cId="2442288617" sldId="314"/>
            <ac:spMk id="18" creationId="{044EAEE4-AD89-14C2-48D0-D2255B57DC21}"/>
          </ac:spMkLst>
        </pc:spChg>
        <pc:spChg chg="add del mod replST">
          <ac:chgData name="Tobias Brammer" userId="80a1e1bd-3b82-47a5-b259-da62a397db92" providerId="ADAL" clId="{1E3A7C41-47CF-4BFD-8C66-533AAAACACA8}" dt="2023-03-07T06:19:35.440" v="8330"/>
          <ac:spMkLst>
            <pc:docMk/>
            <pc:sldMk cId="2442288617" sldId="314"/>
            <ac:spMk id="19" creationId="{0F99221D-C1CF-D638-A520-45858198E6ED}"/>
          </ac:spMkLst>
        </pc:spChg>
        <pc:spChg chg="add del mod replST">
          <ac:chgData name="Tobias Brammer" userId="80a1e1bd-3b82-47a5-b259-da62a397db92" providerId="ADAL" clId="{1E3A7C41-47CF-4BFD-8C66-533AAAACACA8}" dt="2023-03-07T06:19:35.671" v="8484"/>
          <ac:spMkLst>
            <pc:docMk/>
            <pc:sldMk cId="2442288617" sldId="314"/>
            <ac:spMk id="20" creationId="{967AE865-2A70-22D4-7A34-57DE6C6A2DBB}"/>
          </ac:spMkLst>
        </pc:spChg>
        <pc:spChg chg="add del mod ord replST">
          <ac:chgData name="Tobias Brammer" userId="80a1e1bd-3b82-47a5-b259-da62a397db92" providerId="ADAL" clId="{1E3A7C41-47CF-4BFD-8C66-533AAAACACA8}" dt="2023-03-07T06:19:35.672" v="8486"/>
          <ac:spMkLst>
            <pc:docMk/>
            <pc:sldMk cId="2442288617" sldId="314"/>
            <ac:spMk id="21" creationId="{00EEA402-4E65-3535-C222-B54FE34AF3CE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2"/>
          <ac:spMkLst>
            <pc:docMk/>
            <pc:sldMk cId="2442288617" sldId="314"/>
            <ac:spMk id="22" creationId="{29344402-9945-7F6C-AA77-4360A4D3C96F}"/>
          </ac:spMkLst>
        </pc:spChg>
        <pc:spChg chg="add del mod replST">
          <ac:chgData name="Tobias Brammer" userId="80a1e1bd-3b82-47a5-b259-da62a397db92" providerId="ADAL" clId="{1E3A7C41-47CF-4BFD-8C66-533AAAACACA8}" dt="2023-03-07T06:19:35.670" v="8481"/>
          <ac:spMkLst>
            <pc:docMk/>
            <pc:sldMk cId="2442288617" sldId="314"/>
            <ac:spMk id="23" creationId="{1C03F8F9-4838-D4FC-069D-70E917C8A1EB}"/>
          </ac:spMkLst>
        </pc:spChg>
        <pc:spChg chg="add del mod replST">
          <ac:chgData name="Tobias Brammer" userId="80a1e1bd-3b82-47a5-b259-da62a397db92" providerId="ADAL" clId="{1E3A7C41-47CF-4BFD-8C66-533AAAACACA8}" dt="2023-03-07T06:19:35.669" v="8479"/>
          <ac:spMkLst>
            <pc:docMk/>
            <pc:sldMk cId="2442288617" sldId="314"/>
            <ac:spMk id="24" creationId="{34D48AA3-B69B-8750-EBAC-136A8B07C95A}"/>
          </ac:spMkLst>
        </pc:spChg>
        <pc:spChg chg="add mod replST">
          <ac:chgData name="Tobias Brammer" userId="80a1e1bd-3b82-47a5-b259-da62a397db92" providerId="ADAL" clId="{1E3A7C41-47CF-4BFD-8C66-533AAAACACA8}" dt="2023-03-07T06:19:35.690" v="8514" actId="947"/>
          <ac:spMkLst>
            <pc:docMk/>
            <pc:sldMk cId="2442288617" sldId="314"/>
            <ac:spMk id="25" creationId="{47CBC08F-0544-5020-CDE8-0D63E4B97FB5}"/>
          </ac:spMkLst>
        </pc:spChg>
        <pc:spChg chg="add mod ord replST">
          <ac:chgData name="Tobias Brammer" userId="80a1e1bd-3b82-47a5-b259-da62a397db92" providerId="ADAL" clId="{1E3A7C41-47CF-4BFD-8C66-533AAAACACA8}" dt="2023-03-07T06:19:35.701" v="8540"/>
          <ac:spMkLst>
            <pc:docMk/>
            <pc:sldMk cId="2442288617" sldId="314"/>
            <ac:spMk id="26" creationId="{ED968E32-DFE5-08E1-75A9-9B7354F2E546}"/>
          </ac:spMkLst>
        </pc:spChg>
        <pc:spChg chg="add mod replST">
          <ac:chgData name="Tobias Brammer" userId="80a1e1bd-3b82-47a5-b259-da62a397db92" providerId="ADAL" clId="{1E3A7C41-47CF-4BFD-8C66-533AAAACACA8}" dt="2023-03-07T06:19:35.717" v="8570"/>
          <ac:spMkLst>
            <pc:docMk/>
            <pc:sldMk cId="2442288617" sldId="314"/>
            <ac:spMk id="27" creationId="{36C52EF2-74E9-EF05-A685-07FBB6AA7D1A}"/>
          </ac:spMkLst>
        </pc:spChg>
        <pc:spChg chg="add mod replST">
          <ac:chgData name="Tobias Brammer" userId="80a1e1bd-3b82-47a5-b259-da62a397db92" providerId="ADAL" clId="{1E3A7C41-47CF-4BFD-8C66-533AAAACACA8}" dt="2023-03-07T06:19:35.733" v="8599" actId="207"/>
          <ac:spMkLst>
            <pc:docMk/>
            <pc:sldMk cId="2442288617" sldId="314"/>
            <ac:spMk id="28" creationId="{07FD8821-3E17-2675-F9DC-4495D372B414}"/>
          </ac:spMkLst>
        </pc:spChg>
        <pc:spChg chg="add mod replST">
          <ac:chgData name="Tobias Brammer" userId="80a1e1bd-3b82-47a5-b259-da62a397db92" providerId="ADAL" clId="{1E3A7C41-47CF-4BFD-8C66-533AAAACACA8}" dt="2023-03-07T06:19:35.747" v="8627"/>
          <ac:spMkLst>
            <pc:docMk/>
            <pc:sldMk cId="2442288617" sldId="314"/>
            <ac:spMk id="29" creationId="{02773137-9307-4053-D6EE-DB41B53BD839}"/>
          </ac:spMkLst>
        </pc:sp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8722" y="183849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92837" y="183849"/>
            <a:ext cx="2922506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>
                <a:solidFill>
                  <a:schemeClr val="accent1"/>
                </a:solidFill>
              </a:rPr>
              <a:t>08-03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721" y="9836188"/>
            <a:ext cx="2922002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93340" y="9836188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53521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28539" y="167633"/>
            <a:ext cx="2922003" cy="2043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3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0" tIns="49535" rIns="99070" bIns="49535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522" y="4925408"/>
            <a:ext cx="6197021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53521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28539" y="9846431"/>
            <a:ext cx="2922003" cy="2043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13.emf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.bin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45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t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the few electrical contractors in Denmark who have the capacity to work on large projects spanning over several years. </a:t>
            </a:r>
          </a:p>
          <a:p>
            <a:r>
              <a:rPr lang="en-US" dirty="0"/>
              <a:t>In 2022, Contracting accounted for 25% of total revenue and had a 43% total effect on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ELCON’s overall finances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backed by fundamental calculations.</a:t>
            </a:r>
          </a:p>
          <a:p>
            <a:r>
              <a:rPr lang="en-US" dirty="0"/>
              <a:t>A model based on a sound statistical foundation can turn hard facts into clear stories, and support the management at ELCON.</a:t>
            </a:r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367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27905" y="1611103"/>
            <a:ext cx="2448594" cy="248067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  <a:p>
            <a:pPr marL="0" indent="0">
              <a:buNone/>
            </a:pPr>
            <a:r>
              <a:rPr lang="en-US" sz="1600" dirty="0"/>
              <a:t>Defining the right KRIs will be essential, and tests must be conducted to be sure inference can be drawn from the indicators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56580" y="1611103"/>
            <a:ext cx="2448594" cy="325627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</a:t>
            </a:r>
          </a:p>
          <a:p>
            <a:pPr marL="0" indent="0">
              <a:buNone/>
            </a:pPr>
            <a:r>
              <a:rPr lang="en-US" sz="1600" dirty="0"/>
              <a:t>ML will somewhat futureproof the analyses conducted and allows use beyond this project.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58990" y="1611103"/>
            <a:ext cx="2448594" cy="3499420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</a:t>
            </a:r>
          </a:p>
          <a:p>
            <a:pPr marL="0" indent="0">
              <a:buNone/>
            </a:pPr>
            <a:r>
              <a:rPr lang="en-US" sz="1600" dirty="0"/>
              <a:t>Interpretability is of the essence since the targeted end users are not required an in depth understanding of statistics. </a:t>
            </a:r>
          </a:p>
          <a:p>
            <a:pPr marL="0" indent="0">
              <a:buNone/>
            </a:pPr>
            <a:r>
              <a:rPr lang="en-US" sz="1600" dirty="0"/>
              <a:t>The mantra: “Hard facts, clear stories” should be lived by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071979" y="1611103"/>
            <a:ext cx="2448594" cy="275767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  <a:p>
            <a:pPr marL="0" indent="0">
              <a:buNone/>
            </a:pPr>
            <a:r>
              <a:rPr lang="en-US" sz="1600" dirty="0"/>
              <a:t>Model should include materials, hours worked, billable rate, invoiced amounts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728664" y="863206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064561" y="863206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C</a:t>
            </a: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408635" y="863206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8693236" y="863206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952624"/>
            <a:ext cx="4847686" cy="4337051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Data Analysis Methods</a:t>
            </a:r>
          </a:p>
          <a:p>
            <a:r>
              <a:rPr lang="en-US" dirty="0"/>
              <a:t>Factor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pPr lvl="1"/>
            <a:r>
              <a:rPr lang="en-US" sz="1600" dirty="0"/>
              <a:t>Performs Generalized Hyperparameter Optimization for later use.</a:t>
            </a:r>
          </a:p>
          <a:p>
            <a:r>
              <a:rPr lang="en-US" dirty="0"/>
              <a:t>AutoML</a:t>
            </a:r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</a:p>
          <a:p>
            <a:pPr lvl="1"/>
            <a:r>
              <a:rPr lang="en-US" sz="1600" dirty="0"/>
              <a:t>Uses Optimized Hyperparameters from RF.</a:t>
            </a:r>
          </a:p>
          <a:p>
            <a:pPr marL="0" indent="-1587">
              <a:buNone/>
            </a:pP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952624"/>
            <a:ext cx="4847686" cy="4337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/>
              <a:t>Potential Sources of Data</a:t>
            </a:r>
          </a:p>
          <a:p>
            <a:r>
              <a:rPr lang="en-US" dirty="0"/>
              <a:t>Time Series Data</a:t>
            </a:r>
          </a:p>
          <a:p>
            <a:pPr lvl="2"/>
            <a:r>
              <a:rPr lang="en-US" sz="1600" dirty="0"/>
              <a:t>Hours registered by workers.</a:t>
            </a:r>
          </a:p>
          <a:p>
            <a:pPr lvl="2"/>
            <a:r>
              <a:rPr lang="en-US" sz="1600" dirty="0"/>
              <a:t>Materials purchased.</a:t>
            </a:r>
          </a:p>
          <a:p>
            <a:pPr lvl="2"/>
            <a:r>
              <a:rPr lang="en-US" sz="1600" dirty="0"/>
              <a:t>Invoices.</a:t>
            </a:r>
          </a:p>
          <a:p>
            <a:pPr lvl="2"/>
            <a:r>
              <a:rPr lang="en-US" sz="1600" dirty="0"/>
              <a:t>Budget from the tender processes.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.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.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.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5" name="Pladsholder til indhold 5">
            <a:extLst>
              <a:ext uri="{FF2B5EF4-FFF2-40B4-BE49-F238E27FC236}">
                <a16:creationId xmlns:a16="http://schemas.microsoft.com/office/drawing/2014/main" id="{0256447C-D35F-4F86-D90B-E90F6B46AE7F}"/>
              </a:ext>
            </a:extLst>
          </p:cNvPr>
          <p:cNvSpPr txBox="1">
            <a:spLocks/>
          </p:cNvSpPr>
          <p:nvPr/>
        </p:nvSpPr>
        <p:spPr>
          <a:xfrm>
            <a:off x="982661" y="971548"/>
            <a:ext cx="10226676" cy="98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25" lvl="1" indent="0">
              <a:buNone/>
            </a:pPr>
            <a:r>
              <a:rPr lang="en-US" dirty="0"/>
              <a:t>ELCON stores a vast amount of data, and before any analyses can be conducted, the data must be cleaned and sorted. </a:t>
            </a:r>
          </a:p>
          <a:p>
            <a:pPr marL="179025" lvl="1" indent="0">
              <a:buNone/>
            </a:pPr>
            <a:r>
              <a:rPr lang="en-US" dirty="0"/>
              <a:t>Literature review will largely focus on advancements made in fields regarding data science.</a:t>
            </a:r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08537" cy="5077220"/>
          </a:xfrm>
        </p:spPr>
        <p:txBody>
          <a:bodyPr/>
          <a:lstStyle/>
          <a:p>
            <a:r>
              <a:rPr lang="en-US" dirty="0"/>
              <a:t>Comprehensive data model with a variety of use cases.</a:t>
            </a:r>
          </a:p>
          <a:p>
            <a:r>
              <a:rPr lang="en-US" dirty="0"/>
              <a:t>Contracting Dashboard with KPIs and KRIs.</a:t>
            </a:r>
          </a:p>
          <a:p>
            <a:pPr lvl="2"/>
            <a:r>
              <a:rPr lang="en-US" dirty="0"/>
              <a:t>Identification of risky projects.</a:t>
            </a:r>
          </a:p>
          <a:p>
            <a:pPr lvl="2"/>
            <a:r>
              <a:rPr lang="en-US" dirty="0"/>
              <a:t>Identification of areas of improvement.</a:t>
            </a:r>
          </a:p>
          <a:p>
            <a:pPr lvl="2"/>
            <a:r>
              <a:rPr lang="en-US" dirty="0"/>
              <a:t>Highlight trends and patterns in data.</a:t>
            </a:r>
          </a:p>
          <a:p>
            <a:r>
              <a:rPr lang="en-US" dirty="0"/>
              <a:t>Insight into underlying risk factor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1600" dirty="0"/>
              <a:t>The right-hand side shows a draft of the time series model, coupled with a Principal Component Analysis of contribution margin (DB).</a:t>
            </a:r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8285DF7-26A5-0B52-5D8A-45F17BF22272}"/>
              </a:ext>
            </a:extLst>
          </p:cNvPr>
          <p:cNvGrpSpPr/>
          <p:nvPr/>
        </p:nvGrpSpPr>
        <p:grpSpPr>
          <a:xfrm>
            <a:off x="6019732" y="407777"/>
            <a:ext cx="5837306" cy="6220396"/>
            <a:chOff x="6096000" y="380564"/>
            <a:chExt cx="5837306" cy="6220396"/>
          </a:xfrm>
        </p:grpSpPr>
        <p:graphicFrame>
          <p:nvGraphicFramePr>
            <p:cNvPr id="9" name="Objekt 8">
              <a:extLst>
                <a:ext uri="{FF2B5EF4-FFF2-40B4-BE49-F238E27FC236}">
                  <a16:creationId xmlns:a16="http://schemas.microsoft.com/office/drawing/2014/main" id="{D1559444-CA7D-43C0-1DE4-369F3173A80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1780390"/>
                </p:ext>
              </p:extLst>
            </p:nvPr>
          </p:nvGraphicFramePr>
          <p:xfrm>
            <a:off x="6173306" y="380564"/>
            <a:ext cx="5760000" cy="390134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13782628" imgH="9334410" progId="AcroExch.Document.DC">
                    <p:embed/>
                  </p:oleObj>
                </mc:Choice>
                <mc:Fallback>
                  <p:oleObj name="Acrobat Document" r:id="rId6" imgW="13782628" imgH="9334410" progId="AcroExch.Document.DC">
                    <p:embed/>
                    <p:pic>
                      <p:nvPicPr>
                        <p:cNvPr id="9" name="Objekt 8">
                          <a:extLst>
                            <a:ext uri="{FF2B5EF4-FFF2-40B4-BE49-F238E27FC236}">
                              <a16:creationId xmlns:a16="http://schemas.microsoft.com/office/drawing/2014/main" id="{D1559444-CA7D-43C0-1DE4-369F3173A80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73306" y="380564"/>
                          <a:ext cx="5760000" cy="390134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kt 20">
              <a:extLst>
                <a:ext uri="{FF2B5EF4-FFF2-40B4-BE49-F238E27FC236}">
                  <a16:creationId xmlns:a16="http://schemas.microsoft.com/office/drawing/2014/main" id="{B305C757-02F7-D8E4-C352-87D04B02267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87411849"/>
                </p:ext>
              </p:extLst>
            </p:nvPr>
          </p:nvGraphicFramePr>
          <p:xfrm>
            <a:off x="9053306" y="4422584"/>
            <a:ext cx="2880000" cy="21783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8" imgW="4105257" imgH="3104867" progId="AcroExch.Document.DC">
                    <p:embed/>
                  </p:oleObj>
                </mc:Choice>
                <mc:Fallback>
                  <p:oleObj name="Acrobat Document" r:id="rId8" imgW="4105257" imgH="3104867" progId="AcroExch.Document.DC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B305C757-02F7-D8E4-C352-87D04B02267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9"/>
                        <a:stretch>
                          <a:fillRect/>
                        </a:stretch>
                      </p:blipFill>
                      <p:spPr>
                        <a:xfrm>
                          <a:off x="9053306" y="4422584"/>
                          <a:ext cx="2880000" cy="217837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047ADE68-9866-819C-37AA-A7469690386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97269531"/>
                </p:ext>
              </p:extLst>
            </p:nvPr>
          </p:nvGraphicFramePr>
          <p:xfrm>
            <a:off x="6096000" y="4427615"/>
            <a:ext cx="2880000" cy="216831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10" imgW="4123996" imgH="3104867" progId="AcroExch.Document.DC">
                    <p:embed/>
                  </p:oleObj>
                </mc:Choice>
                <mc:Fallback>
                  <p:oleObj name="Acrobat Document" r:id="rId10" imgW="4123996" imgH="3104867" progId="AcroExch.Document.DC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047ADE68-9866-819C-37AA-A7469690386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096000" y="4427615"/>
                          <a:ext cx="2880000" cy="216831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POWER_USER_PPT_AGENDA_PRESENTATION_TABLE_OF_CONTENT_STYLE_TAG" val="1"/>
  <p:tag name="POWER_USER_PPT_AGENDA_PRESENTATION_DIVIDERS_STYLE_TAG" val="POWER_USER_LAYOUT_DIVIDER_PU_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3</TotalTime>
  <Words>608</Words>
  <Application>Microsoft Office PowerPoint</Application>
  <PresentationFormat>Widescreen</PresentationFormat>
  <Paragraphs>84</Paragraphs>
  <Slides>6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6</vt:i4>
      </vt:variant>
    </vt:vector>
  </HeadingPairs>
  <TitlesOfParts>
    <vt:vector size="11" baseType="lpstr">
      <vt:lpstr>Arial</vt:lpstr>
      <vt:lpstr>Corbel</vt:lpstr>
      <vt:lpstr>NRGi</vt:lpstr>
      <vt:lpstr>think-cell Slide</vt:lpstr>
      <vt:lpstr>Acrobat Document</vt:lpstr>
      <vt:lpstr>Statistical Risk Management</vt:lpstr>
      <vt:lpstr>Outline</vt:lpstr>
      <vt:lpstr>Motivation</vt:lpstr>
      <vt:lpstr>Preliminary Problems</vt:lpstr>
      <vt:lpstr>Scientific Methods and Data</vt:lpstr>
      <vt:lpstr>Expected Outpu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1</cp:revision>
  <cp:lastPrinted>2021-01-06T12:41:59Z</cp:lastPrinted>
  <dcterms:created xsi:type="dcterms:W3CDTF">2023-02-21T13:26:08Z</dcterms:created>
  <dcterms:modified xsi:type="dcterms:W3CDTF">2023-03-08T19:10:57Z</dcterms:modified>
</cp:coreProperties>
</file>